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30971574034791E-2"/>
          <c:y val="2.0643112346169116E-2"/>
          <c:w val="0.97793805685193047"/>
          <c:h val="0.95871377530766178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BC6-4016-9B68-69D618D5394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BC6-4016-9B68-69D618D5394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BC6-4016-9B68-69D618D5394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BC6-4016-9B68-69D618D5394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BC6-4016-9B68-69D618D5394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BC6-4016-9B68-69D618D5394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BC6-4016-9B68-69D618D5394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BC6-4016-9B68-69D618D5394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BC6-4016-9B68-69D618D5394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BC6-4016-9B68-69D618D5394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BC6-4016-9B68-69D618D5394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BC6-4016-9B68-69D618D53944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52.605015002143148</c:v>
                </c:pt>
                <c:pt idx="1">
                  <c:v>37.605015002143148</c:v>
                </c:pt>
                <c:pt idx="2">
                  <c:v>75.605015002143148</c:v>
                </c:pt>
                <c:pt idx="3">
                  <c:v>121.20501500214311</c:v>
                </c:pt>
                <c:pt idx="4">
                  <c:v>175.92501500214308</c:v>
                </c:pt>
                <c:pt idx="5">
                  <c:v>227.60501500214315</c:v>
                </c:pt>
                <c:pt idx="6">
                  <c:v>222.60501500214315</c:v>
                </c:pt>
                <c:pt idx="7">
                  <c:v>207.60501500214315</c:v>
                </c:pt>
                <c:pt idx="8">
                  <c:v>247.60501500214315</c:v>
                </c:pt>
                <c:pt idx="9">
                  <c:v>222.60501500214315</c:v>
                </c:pt>
                <c:pt idx="10">
                  <c:v>257.60501500214315</c:v>
                </c:pt>
                <c:pt idx="11">
                  <c:v>267.60501500214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BC6-4016-9B68-69D618D53944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2:$L$2</c:f>
                <c:numCache>
                  <c:formatCode>General</c:formatCode>
                  <c:ptCount val="12"/>
                  <c:pt idx="0">
                    <c:v>-21</c:v>
                  </c:pt>
                  <c:pt idx="1">
                    <c:v>-15</c:v>
                  </c:pt>
                  <c:pt idx="2">
                    <c:v>-18</c:v>
                  </c:pt>
                  <c:pt idx="3">
                    <c:v>-21.600000000000023</c:v>
                  </c:pt>
                  <c:pt idx="4">
                    <c:v>-25.920000000000016</c:v>
                  </c:pt>
                  <c:pt idx="5">
                    <c:v>-32</c:v>
                  </c:pt>
                  <c:pt idx="6">
                    <c:v>-32</c:v>
                  </c:pt>
                  <c:pt idx="7">
                    <c:v>-25</c:v>
                  </c:pt>
                  <c:pt idx="8">
                    <c:v>-40</c:v>
                  </c:pt>
                  <c:pt idx="9">
                    <c:v>-26</c:v>
                  </c:pt>
                  <c:pt idx="10">
                    <c:v>-40</c:v>
                  </c:pt>
                  <c:pt idx="11">
                    <c:v>-45.899999999999977</c:v>
                  </c:pt>
                </c:numCache>
              </c:numRef>
            </c:plus>
            <c:spPr>
              <a:ln w="152400" cmpd="sng" algn="ctr">
                <a:solidFill>
                  <a:schemeClr val="accent1"/>
                </a:solidFill>
                <a:prstDash val="lgDash"/>
              </a:ln>
            </c:spPr>
          </c:errBars>
          <c:val>
            <c:numRef>
              <c:f>Sheet1!$A$3:$L$3</c:f>
              <c:numCache>
                <c:formatCode>General</c:formatCode>
                <c:ptCount val="12"/>
                <c:pt idx="0">
                  <c:v>37.605015002143148</c:v>
                </c:pt>
                <c:pt idx="1">
                  <c:v>30.105015002143148</c:v>
                </c:pt>
                <c:pt idx="2">
                  <c:v>66.605015002143148</c:v>
                </c:pt>
                <c:pt idx="3">
                  <c:v>110.40501500214316</c:v>
                </c:pt>
                <c:pt idx="4">
                  <c:v>162.96501500214316</c:v>
                </c:pt>
                <c:pt idx="5">
                  <c:v>197.60501500214315</c:v>
                </c:pt>
                <c:pt idx="6">
                  <c:v>197.60501500214315</c:v>
                </c:pt>
                <c:pt idx="7">
                  <c:v>197.60501500214315</c:v>
                </c:pt>
                <c:pt idx="8">
                  <c:v>217.60501500214315</c:v>
                </c:pt>
                <c:pt idx="9">
                  <c:v>207.60501500214315</c:v>
                </c:pt>
                <c:pt idx="10">
                  <c:v>227.60501500214315</c:v>
                </c:pt>
                <c:pt idx="11">
                  <c:v>247.60501500214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3BC6-4016-9B68-69D618D53944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BC6-4016-9B68-69D618D53944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BC6-4016-9B68-69D618D53944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BC6-4016-9B68-69D618D53944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BC6-4016-9B68-69D618D53944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BC6-4016-9B68-69D618D53944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BC6-4016-9B68-69D618D53944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BC6-4016-9B68-69D618D53944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BC6-4016-9B68-69D618D53944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BC6-4016-9B68-69D618D53944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BC6-4016-9B68-69D618D53944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BC6-4016-9B68-69D618D53944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BC6-4016-9B68-69D618D53944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27.105015002143148</c:v>
                </c:pt>
                <c:pt idx="1">
                  <c:v>22.605015002143148</c:v>
                </c:pt>
                <c:pt idx="2">
                  <c:v>57.605015002143148</c:v>
                </c:pt>
                <c:pt idx="3">
                  <c:v>99.605015002143148</c:v>
                </c:pt>
                <c:pt idx="4">
                  <c:v>150.00501500214313</c:v>
                </c:pt>
                <c:pt idx="5">
                  <c:v>181.60501500214315</c:v>
                </c:pt>
                <c:pt idx="6">
                  <c:v>181.60501500214315</c:v>
                </c:pt>
                <c:pt idx="7">
                  <c:v>185.10501500214315</c:v>
                </c:pt>
                <c:pt idx="8">
                  <c:v>197.60501500214315</c:v>
                </c:pt>
                <c:pt idx="9">
                  <c:v>194.60501500214315</c:v>
                </c:pt>
                <c:pt idx="10">
                  <c:v>207.60501500214315</c:v>
                </c:pt>
                <c:pt idx="11">
                  <c:v>224.65501500214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3BC6-4016-9B68-69D618D53944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val>
            <c:numRef>
              <c:f>Sheet1!$A$5:$L$5</c:f>
              <c:numCache>
                <c:formatCode>General</c:formatCode>
                <c:ptCount val="12"/>
                <c:pt idx="0">
                  <c:v>16.605015002143148</c:v>
                </c:pt>
                <c:pt idx="1">
                  <c:v>15.105015002143148</c:v>
                </c:pt>
                <c:pt idx="2">
                  <c:v>48.605015002143148</c:v>
                </c:pt>
                <c:pt idx="3">
                  <c:v>88.805015002143136</c:v>
                </c:pt>
                <c:pt idx="4">
                  <c:v>137.04501500214315</c:v>
                </c:pt>
                <c:pt idx="5">
                  <c:v>165.60501500214315</c:v>
                </c:pt>
                <c:pt idx="6">
                  <c:v>165.60501500214315</c:v>
                </c:pt>
                <c:pt idx="7">
                  <c:v>172.60501500214315</c:v>
                </c:pt>
                <c:pt idx="8">
                  <c:v>177.60501500214315</c:v>
                </c:pt>
                <c:pt idx="9">
                  <c:v>181.60501500214315</c:v>
                </c:pt>
                <c:pt idx="10">
                  <c:v>187.60501500214315</c:v>
                </c:pt>
                <c:pt idx="11">
                  <c:v>201.70501500214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3BC6-4016-9B68-69D618D53944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3BC6-4016-9B68-69D618D5394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3BC6-4016-9B68-69D618D5394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3BC6-4016-9B68-69D618D5394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3BC6-4016-9B68-69D618D5394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3BC6-4016-9B68-69D618D5394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3BC6-4016-9B68-69D618D5394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3BC6-4016-9B68-69D618D5394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3BC6-4016-9B68-69D618D5394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3BC6-4016-9B68-69D618D5394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3BC6-4016-9B68-69D618D5394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3BC6-4016-9B68-69D618D5394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3BC6-4016-9B68-69D618D53944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6:$L$6</c:f>
                <c:numCache>
                  <c:formatCode>General</c:formatCode>
                  <c:ptCount val="12"/>
                  <c:pt idx="0">
                    <c:v>42.5</c:v>
                  </c:pt>
                  <c:pt idx="1">
                    <c:v>27.5</c:v>
                  </c:pt>
                  <c:pt idx="2">
                    <c:v>33</c:v>
                  </c:pt>
                  <c:pt idx="3">
                    <c:v>39.599999999999966</c:v>
                  </c:pt>
                  <c:pt idx="4">
                    <c:v>47.519999999999925</c:v>
                  </c:pt>
                  <c:pt idx="5">
                    <c:v>70</c:v>
                  </c:pt>
                  <c:pt idx="6">
                    <c:v>70</c:v>
                  </c:pt>
                  <c:pt idx="7">
                    <c:v>40</c:v>
                  </c:pt>
                  <c:pt idx="8">
                    <c:v>83.199999999999989</c:v>
                  </c:pt>
                  <c:pt idx="9">
                    <c:v>50</c:v>
                  </c:pt>
                  <c:pt idx="10">
                    <c:v>80</c:v>
                  </c:pt>
                  <c:pt idx="11">
                    <c:v>84.800000000000011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7:$L$7</c:f>
              <c:numCache>
                <c:formatCode>General</c:formatCode>
                <c:ptCount val="12"/>
                <c:pt idx="0">
                  <c:v>10.105015002143148</c:v>
                </c:pt>
                <c:pt idx="1">
                  <c:v>10.105015002143148</c:v>
                </c:pt>
                <c:pt idx="2">
                  <c:v>42.605015002143148</c:v>
                </c:pt>
                <c:pt idx="3">
                  <c:v>81.605015002143148</c:v>
                </c:pt>
                <c:pt idx="4">
                  <c:v>128.40501500214316</c:v>
                </c:pt>
                <c:pt idx="5">
                  <c:v>157.60501500214315</c:v>
                </c:pt>
                <c:pt idx="6">
                  <c:v>152.60501500214315</c:v>
                </c:pt>
                <c:pt idx="7">
                  <c:v>167.60501500214315</c:v>
                </c:pt>
                <c:pt idx="8">
                  <c:v>164.40501500214316</c:v>
                </c:pt>
                <c:pt idx="9">
                  <c:v>172.60501500214315</c:v>
                </c:pt>
                <c:pt idx="10">
                  <c:v>177.60501500214315</c:v>
                </c:pt>
                <c:pt idx="11">
                  <c:v>182.80501500214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8-3BC6-4016-9B68-69D618D539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8127551"/>
        <c:axId val="1"/>
      </c:lineChart>
      <c:catAx>
        <c:axId val="988127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7.6050150021431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9881275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B2CEF-9E0A-4632-84D3-EF8F069AB079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1611C6-3D70-4C02-B0A1-A025CEF371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5298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7875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18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43540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50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21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6985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28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94530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oleObject" Target="../embeddings/oleObject5.bin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image" Target="../media/image4.emf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4037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line, error bar, candlesticks, candle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10F01A7-9440-C6D3-851D-BBF1054945B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835025" y="5181600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7055F6F-2EC6-CE67-BEAA-840D17BF82B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35025" y="4537075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0008998-AF7C-5CBE-B416-DDC7D872884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35025" y="3892550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2A2F3AA-0A6C-F973-3A2B-FF21286D2FD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35025" y="3248025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2211170-A867-DD4B-443C-7A90E942259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35025" y="2605088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4BE361D-9C29-14DC-D9C7-E2AF017ECC9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35025" y="1960563"/>
            <a:ext cx="73183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F316CE3B-4929-4D3E-9D1E-CA26FA572CC9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752475" y="1878013"/>
          <a:ext cx="7483475" cy="3998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6DC532B-CA45-EF6D-F320-4BE1E664B2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1662" y="5688013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D4C5CB-5859-4D8A-870C-44BB237D068F}" type="datetime'''''''''''''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4649" y="5075238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24AF6C3-D676-44D5-8FD7-09C3D50DFBDE}" type="datetime'''''''''''''''''''''''''2''''''''''''''''''0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77825" y="4430713"/>
            <a:ext cx="339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42ED0D-A7ED-47FB-A455-9ADDF176FE45}" type="datetime'''''''''''2''''''''''''''''''''5''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6238" y="3786188"/>
            <a:ext cx="341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184820B-C0D2-46B7-A418-CC0BB3E37326}" type="datetime'''''''''30''''''''''''''''''''''''''''''''''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79412" y="3141663"/>
            <a:ext cx="338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B7B1593-07DE-4A13-9DDB-B95890C0A757}" type="datetime'''''''''3''5''''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1475" y="24987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6431A97-53C4-4F48-A704-4B10EA2C8832}" type="datetime'''''''''''''''''4''''''0''''''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4649" y="1854200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A0FFD7-7175-4418-A343-29242B7C99C5}" type="datetime'''''''''''''''''''''4''5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25C8854E-1043-4B38-B9C0-CB49C7C0E52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62000" y="568166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1F76A8C5-3526-4008-ADD0-C94670E5299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62000" y="568166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E85CABF-0E82-4DE5-8E74-47D2D0AB109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62000" y="573881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DEB7223-CA87-01B2-E5A3-786F9CBCC3D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77900" y="5853113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8CB265-84BA-42F9-B4FF-9E1E7C53697F}" type="datetime'J''''''''a''''''''''''''''''''''''n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A986984-3998-9CEF-D741-83CF04BB72E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81150" y="5853113"/>
            <a:ext cx="338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0A6ED8-241D-4F66-8BB0-CD0577B8F2DA}" type="datetime'''F''''''''''''''''''''''''''e''''''''''''''''''''b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D3CCD6D9-EA9B-397B-2B74-85A3C70275E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184400" y="5853113"/>
            <a:ext cx="349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26E562-5570-4F6C-BED5-60F0220665B2}" type="datetime'''''M''''''''''''ar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6129F2A-BB3F-A39F-5604-8F64F1BAB3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11462" y="5853113"/>
            <a:ext cx="317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4835695-780D-4B52-A8F4-8A255F8E9993}" type="datetime'''''''''''A''''''''p''''''''''''r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p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7A1FACB-8F64-F3F4-60EC-467A974242E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392487" y="5853113"/>
            <a:ext cx="376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0BDCB07-9A97-46DA-9CC2-27B4F3E60846}" type="datetime'''''''''''''''''''''''''''''M''''a''''''y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y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916C7AE-F4F3-4EF6-17DE-14875473A55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029075" y="5853113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6384BC-37E5-4ADE-85AA-348BBA424A49}" type="datetime'''''''''''''''''J''''''''u''n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n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96E7FC1-4DB8-A351-1AFB-B26C98C464C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667250" y="5853113"/>
            <a:ext cx="265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DB10CD-5BBB-430B-8130-2F728601FCAF}" type="datetime'''''''J''''''''''''''''''''u''''''''''''l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l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89DFF4B-8121-DE59-8D73-5FA74D65D19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30812" y="5853113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E0D03D-0967-41B0-9D7F-165A908ACCB6}" type="datetime'''''''A''''''''''''''''''''''u''''''g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ug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6B61276-622E-4416-185F-CEFB89D0F9C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46762" y="5853113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C9C30F-B0AA-4D28-BED2-4B596246D56F}" type="datetime'''''''S''''''''''''''''''''''''''''''''ep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p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38D4981-EFD9-D31B-9C1B-C44FAFA711C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467474" y="5853113"/>
            <a:ext cx="323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2341E1-47CC-4AE1-ADC1-A86F6B55B43A}" type="datetime'''''''O''''''c''''''''t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c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76D0D2C-9082-029F-8851-804D626C31F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064374" y="5853113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635E94-FD08-49F3-9B11-5CF618D1BBF9}" type="datetime'''''No''''''''''''''''v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FD817A2-F37B-4253-47EB-C635875FDE3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672388" y="5853113"/>
            <a:ext cx="354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A8541F9-2155-4DE5-ABED-79A5D3299838}" type="datetime'''''''''''D''e''''''''''''''''''''''''''''''''''c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59F156-EB9B-CB5F-9CC0-CD17BB29EFFD}"/>
              </a:ext>
            </a:extLst>
          </p:cNvPr>
          <p:cNvSpPr>
            <a:spLocks/>
          </p:cNvSpPr>
          <p:nvPr/>
        </p:nvSpPr>
        <p:spPr>
          <a:xfrm>
            <a:off x="8811108" y="-3206650"/>
            <a:ext cx="4575600" cy="3766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line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  <a:endParaRPr kumimoji="0" lang="en-US" sz="1200" b="0" i="0" u="sng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a candlestick char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irst insert a line char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ext, to 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box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's datasheet, enter a series representing the upper quartile and a series representing the lower quartil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, select both series' lines. Right-click a line to open the context menu.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Error Ba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lick the bars to open the mini toolbar. Adjust the thickness and color of the ba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ext,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whisk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datasheet, enter a series representing the max. values and a series representing the min.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another set of error bars from these serie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error bars' mini toolbar, in the marker style menu,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Long B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Finally,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median mark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datasheet, enter a series representing the marker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, click the series line to open the mini toolbar.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o Lin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 Add markers, and style as desired.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4E14FB5-2D31-4A32-8AE4-89170C1F845C}"/>
              </a:ext>
            </a:extLst>
          </p:cNvPr>
          <p:cNvSpPr txBox="1"/>
          <p:nvPr/>
        </p:nvSpPr>
        <p:spPr>
          <a:xfrm>
            <a:off x="4530903" y="83220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插入图表数据</a:t>
            </a:r>
          </a:p>
        </p:txBody>
      </p:sp>
    </p:spTree>
    <p:extLst>
      <p:ext uri="{BB962C8B-B14F-4D97-AF65-F5344CB8AC3E}">
        <p14:creationId xmlns:p14="http://schemas.microsoft.com/office/powerpoint/2010/main" val="3100196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jrjbxXgnF_5NqFUpA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rCrQOWYA0BcG5X7RlF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fdH4.2.JnTV.yy7_yK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wxbRAdTyPsEZFZWWQ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rab4XSIeL22P79pLc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18tBpidJpI.x4X6J.0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LrRaa6dgSKmLt9GRUt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XtA7KInJI3zItxI3i0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aONTvKVA3uEIQHcxo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9vfminZtDJrzyCZGw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wJ4.GHlXszieciLhq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2vBggjtiDk4t1JzfoD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92dG4b8TYaDtpPp5Zj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42K6bHrTTn6GnjFGa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TGD0k.gVI_95Vf19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ndASvZZ8pJ_HpewMgS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h.9KsEDpkYoqJKUZad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IZYkQXMdp3vwtY5500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QK6ZRKT5t_stKksa5_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w1OgNeXgHGXRkFSrfs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41uHPeE4MuPXvrSyIq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f5hoX0M0ZYUpjOXXe0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vSKB6wK9PQcmYXlzY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4KBSZiLKcMtsItA.ht7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hDm.i9oVf1p3zXLoHd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nKNF5Z8A.vVG.6f3O1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03_ZuNFQGMADdGGYmy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qOLNFQGMYOqD6igjuz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JrwQaDJT87dnucOEmi0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3</Words>
  <Application>Microsoft Office PowerPoint</Application>
  <PresentationFormat>宽屏</PresentationFormat>
  <Paragraphs>3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Arial,Sans-Serif</vt:lpstr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09:42Z</dcterms:created>
  <dcterms:modified xsi:type="dcterms:W3CDTF">2025-09-10T07:10:30Z</dcterms:modified>
</cp:coreProperties>
</file>